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charset="0"/>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p:scale>
          <a:sx n="70" d="100"/>
          <a:sy n="70" d="100"/>
        </p:scale>
        <p:origin x="2076" y="774"/>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F4D4E8EF-4FD0-43EA-9EA3-92A2878225E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179A75CA-4477-4CE9-9FA5-6D560FE6AEF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509CF832-4A95-44CC-B4B2-4784EF1A320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36224F06-001C-4718-9F40-3FA95D8E3E8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7</c:v>
                </c:pt>
                <c:pt idx="1">
                  <c:v>0.3</c:v>
                </c:pt>
                <c:pt idx="2">
                  <c:v>0.34</c:v>
                </c:pt>
                <c:pt idx="3">
                  <c:v>0.09</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K$2:$K$5</c15:f>
                <c15:dlblRangeCache>
                  <c:ptCount val="4"/>
                  <c:pt idx="0">
                    <c:v>27%</c:v>
                  </c:pt>
                  <c:pt idx="1">
                    <c:v>30%</c:v>
                  </c:pt>
                  <c:pt idx="2">
                    <c:v>34%</c:v>
                  </c:pt>
                  <c:pt idx="3">
                    <c:v>9%</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r>
                      <a:rPr lang="en-US" dirty="0"/>
                      <a:t>-</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ext>
                <c:ext xmlns:c16="http://schemas.microsoft.com/office/drawing/2014/chart" uri="{C3380CC4-5D6E-409C-BE32-E72D297353CC}">
                  <c16:uniqueId val="{00000004-AE26-433D-82F1-4674F4195729}"/>
                </c:ext>
              </c:extLst>
            </c:dLbl>
            <c:dLbl>
              <c:idx val="1"/>
              <c:tx>
                <c:rich>
                  <a:bodyPr/>
                  <a:lstStyle/>
                  <a:p>
                    <a:fld id="{510DC498-3208-4D91-9A1C-AF880B9EF5D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CEC69227-A734-4782-89A1-22FD36EE31E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F7D6AC46-F690-4423-9023-8180BEE99F5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9</c:v>
                </c:pt>
                <c:pt idx="2">
                  <c:v>0.53</c:v>
                </c:pt>
                <c:pt idx="3">
                  <c:v>0.27</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L$2:$L$5</c15:f>
                <c15:dlblRangeCache>
                  <c:ptCount val="4"/>
                  <c:pt idx="0">
                    <c:v>0%</c:v>
                  </c:pt>
                  <c:pt idx="1">
                    <c:v>19%</c:v>
                  </c:pt>
                  <c:pt idx="2">
                    <c:v>53%</c:v>
                  </c:pt>
                  <c:pt idx="3">
                    <c:v>27%</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76</c:v>
                </c:pt>
                <c:pt idx="1">
                  <c:v>0.8</c:v>
                </c:pt>
                <c:pt idx="2">
                  <c:v>0.82</c:v>
                </c:pt>
                <c:pt idx="3">
                  <c:v>0.8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4C369C37-B989-4465-AF08-2C2E2CA3183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E86A3E3A-4C2D-46DB-A0BE-F9FDF75DC26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ED828D58-2125-4921-BA0D-4171CAE68EA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24</c:v>
                </c:pt>
                <c:pt idx="1">
                  <c:v>0.2</c:v>
                </c:pt>
                <c:pt idx="2">
                  <c:v>0.18</c:v>
                </c:pt>
                <c:pt idx="3">
                  <c:v>0.1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76%</c:v>
                  </c:pt>
                  <c:pt idx="1">
                    <c:v>80%</c:v>
                  </c:pt>
                  <c:pt idx="2">
                    <c:v>82%</c:v>
                  </c:pt>
                  <c:pt idx="3">
                    <c:v>88%</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2</c:v>
                </c:pt>
                <c:pt idx="1">
                  <c:v>0</c:v>
                </c:pt>
                <c:pt idx="2">
                  <c:v>0.81</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B55A6BC4-372C-4FFA-881E-53C88B9DC95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88ACDFB9-F05F-491F-8D6A-2B6D9F4D1C9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E49A3615-C84F-40A8-89E2-12107E162C7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86F43A17-2A37-42FD-9B9A-464B6DD5166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8</c:v>
                </c:pt>
                <c:pt idx="1">
                  <c:v>0</c:v>
                </c:pt>
                <c:pt idx="2">
                  <c:v>0.19</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2%</c:v>
                  </c:pt>
                  <c:pt idx="1">
                    <c:v>-</c:v>
                  </c:pt>
                  <c:pt idx="2">
                    <c:v>81%</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3</c:v>
                </c:pt>
                <c:pt idx="1">
                  <c:v>0.79</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5F75CE00-5BD3-4B26-89AB-7F5F3197E3C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FE05574C-3F21-42B6-AC95-E354EC0FE90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5693F75A-2F4B-465A-93BB-73FACE370D8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A768CD39-F4B5-4B4B-AAF9-B93C9C09927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7</c:v>
                </c:pt>
                <c:pt idx="1">
                  <c:v>0.21</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3%</c:v>
                  </c:pt>
                  <c:pt idx="1">
                    <c:v>79%</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1</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55A0D933-23A7-45E9-9C0E-9A02AA387FE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9E7A0131-4C43-4824-9410-4350E4D3F09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9</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1%</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4</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6</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4%</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6</c:v>
                </c:pt>
                <c:pt idx="1">
                  <c:v>0.81</c:v>
                </c:pt>
                <c:pt idx="2">
                  <c:v>0.85</c:v>
                </c:pt>
                <c:pt idx="3">
                  <c:v>0.85</c:v>
                </c:pt>
                <c:pt idx="4">
                  <c:v>0.8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2C20DF2B-0B6C-43D3-9EF5-1E93427C0C1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F561AB7B-ABA3-4356-945A-9DEDACC9CA7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B1BB6167-B7CC-4C31-996A-EBD8F8A9D39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F287F2DE-ABB5-4D35-9331-1C618315698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4000000000000001</c:v>
                </c:pt>
                <c:pt idx="1">
                  <c:v>0.19</c:v>
                </c:pt>
                <c:pt idx="2">
                  <c:v>0.15</c:v>
                </c:pt>
                <c:pt idx="3">
                  <c:v>0.15</c:v>
                </c:pt>
                <c:pt idx="4">
                  <c:v>0.1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6%</c:v>
                  </c:pt>
                  <c:pt idx="1">
                    <c:v>81%</c:v>
                  </c:pt>
                  <c:pt idx="2">
                    <c:v>85%</c:v>
                  </c:pt>
                  <c:pt idx="3">
                    <c:v>85%</c:v>
                  </c:pt>
                  <c:pt idx="4">
                    <c:v>85%</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76</c:v>
                </c:pt>
                <c:pt idx="2">
                  <c:v>0.85</c:v>
                </c:pt>
                <c:pt idx="3">
                  <c:v>0.8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5BC31B89-19DB-428A-AB78-123C4C3E034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87DE17E7-5F76-40F7-BA5B-E7B2CE14DF6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706BD2A1-EE64-424B-B8AB-F41CED2A291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24</c:v>
                </c:pt>
                <c:pt idx="2">
                  <c:v>0.15</c:v>
                </c:pt>
                <c:pt idx="3">
                  <c:v>0.1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c:v>
                  </c:pt>
                  <c:pt idx="1">
                    <c:v>76%</c:v>
                  </c:pt>
                  <c:pt idx="2">
                    <c:v>85%</c:v>
                  </c:pt>
                  <c:pt idx="3">
                    <c:v>89%</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6</c:v>
                </c:pt>
                <c:pt idx="1">
                  <c:v>0</c:v>
                </c:pt>
                <c:pt idx="2">
                  <c:v>0.8</c:v>
                </c:pt>
                <c:pt idx="3">
                  <c:v>0.93</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A4291740-DDE2-425D-8FA1-0BBCD8EDF54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B374800B-1807-4800-AA1F-C570345A1AF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5E24271D-9686-4ED6-B00A-282A449C521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300EF646-4813-44C6-BBF1-F22EC5C8D4F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4000000000000001</c:v>
                </c:pt>
                <c:pt idx="1">
                  <c:v>0</c:v>
                </c:pt>
                <c:pt idx="2">
                  <c:v>0.2</c:v>
                </c:pt>
                <c:pt idx="3">
                  <c:v>7.0000000000000007E-2</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6%</c:v>
                  </c:pt>
                  <c:pt idx="1">
                    <c:v>-</c:v>
                  </c:pt>
                  <c:pt idx="2">
                    <c:v>80%</c:v>
                  </c:pt>
                  <c:pt idx="3">
                    <c:v>93%</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1</c:v>
                </c:pt>
                <c:pt idx="1">
                  <c:v>0.88</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0A88804F-9E91-4324-BDAF-B115017EAA1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39E40A82-FBE4-4F0C-A9DA-F2B5CE300D9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DF83CE11-A6AA-4A26-91A8-2434C2E63CE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78E0F7D8-8B22-493E-BBE0-4F694967DD4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9</c:v>
                </c:pt>
                <c:pt idx="1">
                  <c:v>0.12</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1%</c:v>
                  </c:pt>
                  <c:pt idx="1">
                    <c:v>88%</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4</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6F3DD59E-10E8-41AF-9957-8B3DE105895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3030941E-FE17-4D37-8986-74FAF40FF5E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6</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4%</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3</c:v>
                </c:pt>
                <c:pt idx="1">
                  <c:v>85</c:v>
                </c:pt>
                <c:pt idx="2">
                  <c:v>2</c:v>
                </c:pt>
                <c:pt idx="3">
                  <c:v>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0</c:v>
                </c:pt>
                <c:pt idx="1">
                  <c:v>8</c:v>
                </c:pt>
                <c:pt idx="2">
                  <c:v>0</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7D7ED32B-5099-4277-8159-C342CAE0B1E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044A8E3F-4171-440D-AEFB-5D00E7AE696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9AF972F9-FAAF-4843-B9E0-45A7961C955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F8D042B3-6002-40FE-B636-01D030E5B3B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B3666FD1-DD72-4419-9176-03288CC7B2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6587B7B1-EFD0-4D4C-A948-3661BB539F8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9</c:v>
                </c:pt>
                <c:pt idx="1">
                  <c:v>6</c:v>
                </c:pt>
                <c:pt idx="2">
                  <c:v>4</c:v>
                </c:pt>
                <c:pt idx="3">
                  <c:v>2</c:v>
                </c:pt>
                <c:pt idx="4">
                  <c:v>2</c:v>
                </c:pt>
                <c:pt idx="5">
                  <c:v>4</c:v>
                </c:pt>
                <c:pt idx="6">
                  <c:v>4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49%</c:v>
                  </c:pt>
                  <c:pt idx="1">
                    <c:v>6%</c:v>
                  </c:pt>
                  <c:pt idx="2">
                    <c:v>4%</c:v>
                  </c:pt>
                  <c:pt idx="3">
                    <c:v>2%</c:v>
                  </c:pt>
                  <c:pt idx="4">
                    <c:v>2%</c:v>
                  </c:pt>
                  <c:pt idx="5">
                    <c:v>4%</c:v>
                  </c:pt>
                  <c:pt idx="6">
                    <c:v>4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12CBD59B-3424-4FD4-A3E3-00A4EC005C4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8CA13BB8-4D5F-4544-A563-E44B637B943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1D3BE7A1-BDCA-4B95-9655-122B32374C9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332D6233-92C9-47F6-ABC0-ED01502EFB1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48F64A50-1E33-4A66-8FE3-5B8EF866FF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CAB0869B-3EBC-41D4-973C-CFA5FC0CAE6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2</c:v>
                </c:pt>
                <c:pt idx="1">
                  <c:v>9</c:v>
                </c:pt>
                <c:pt idx="2">
                  <c:v>4</c:v>
                </c:pt>
                <c:pt idx="3">
                  <c:v>3</c:v>
                </c:pt>
                <c:pt idx="4">
                  <c:v>15</c:v>
                </c:pt>
                <c:pt idx="5">
                  <c:v>6</c:v>
                </c:pt>
                <c:pt idx="6">
                  <c:v>3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2%</c:v>
                  </c:pt>
                  <c:pt idx="1">
                    <c:v>9%</c:v>
                  </c:pt>
                  <c:pt idx="2">
                    <c:v>4%</c:v>
                  </c:pt>
                  <c:pt idx="3">
                    <c:v>3%</c:v>
                  </c:pt>
                  <c:pt idx="4">
                    <c:v>15%</c:v>
                  </c:pt>
                  <c:pt idx="5">
                    <c:v>6%</c:v>
                  </c:pt>
                  <c:pt idx="6">
                    <c:v>33%</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6EF-47F1-B883-7748EC1E367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EF-47F1-B883-7748EC1E367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49B14FE8-05FF-45C8-A1DC-C2560B2BF6C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DBC85413-9081-4AFD-8001-95269A3DFC7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c:v>
                </c:pt>
                <c:pt idx="1">
                  <c:v>9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c:v>
                  </c:pt>
                  <c:pt idx="1">
                    <c:v>92%</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2F0-4CF1-80C7-205225AB80C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2F0-4CF1-80C7-205225AB80C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E7239F66-5C6F-4868-990B-CB6A951A982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C8A7A9E5-6669-484F-B021-167D6CE66D8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2</c:v>
                </c:pt>
                <c:pt idx="1">
                  <c:v>8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2%</c:v>
                  </c:pt>
                  <c:pt idx="1">
                    <c:v>88%</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5CF-40B3-8374-492CB86772A0}"/>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CF-40B3-8374-492CB86772A0}"/>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99E6D907-9DF2-45BF-86F3-96807D3A32A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188F7FDB-F33C-43A1-A9A3-A4F1207254C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6</c:v>
                </c:pt>
                <c:pt idx="1">
                  <c:v>8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6%</c:v>
                  </c:pt>
                  <c:pt idx="1">
                    <c:v>84%</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17A72587-6AFA-4A1D-9BAC-F188DAB61FE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90799285-951A-42DA-B9CE-4F486700CE4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2C54FAEC-8967-4296-8420-88E4403894F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CF310529-4F53-4C86-BED1-64F1A8B473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A4F10827-AF2D-4922-BBA6-47C3534867B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6000000000000005</c:v>
                </c:pt>
                <c:pt idx="1">
                  <c:v>0.42</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56%</c:v>
                  </c:pt>
                  <c:pt idx="1">
                    <c:v>42%</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BB1FBD07-1EAD-4A4C-8211-849D93F61FD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92A1ED09-14B6-4C9B-8EF2-FE87A1511EA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2488A660-5A53-40A5-91EB-F9E07A80627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95354AE4-8086-4C56-BE57-600CB1C35D2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EF7FD7F1-ABED-4219-8C9D-6AB253180A4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c:v>
                </c:pt>
                <c:pt idx="1">
                  <c:v>0.48</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0%</c:v>
                  </c:pt>
                  <c:pt idx="1">
                    <c:v>48%</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819-49AB-9068-B304DBA3CCB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819-49AB-9068-B304DBA3CCB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5B1A8BAA-6B36-439E-9EC8-39D21886CA9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F0922854-3BC0-4FD4-8701-A1E62964050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5</c:v>
                </c:pt>
                <c:pt idx="1">
                  <c:v>7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5%</c:v>
                  </c:pt>
                  <c:pt idx="1">
                    <c:v>75%</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3E6-406A-BD18-9D1352DD1788}"/>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3E6-406A-BD18-9D1352DD1788}"/>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3F25160F-13A8-47E9-98C6-F388BF2BF57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A245EC43-DC11-4B0F-9350-9707DCD8676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c:v>
                </c:pt>
                <c:pt idx="1">
                  <c:v>9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c:v>
                  </c:pt>
                  <c:pt idx="1">
                    <c:v>97%</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044-4A9A-8BF8-13AAE32259E6}"/>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044-4A9A-8BF8-13AAE32259E6}"/>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85AB04A1-1183-457A-BB59-F88F2F922A3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52E22E67-1C3D-4DD1-8B05-087E2CF6F57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9</c:v>
                </c:pt>
                <c:pt idx="1">
                  <c:v>9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9%</c:v>
                  </c:pt>
                  <c:pt idx="1">
                    <c:v>91%</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44E4BA55-0834-45D5-944B-F6B7993FA62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FE38F8B5-D17C-49A6-AFFD-D34E962FA8E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fld id="{DF50BA17-8F86-448D-A3BB-9E2D3665B93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r>
                      <a:rPr lang="en-GB"/>
                      <a:t>66%</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73EB-456C-B74D-581899DAC290}"/>
                </c:ext>
              </c:extLst>
            </c:dLbl>
            <c:dLbl>
              <c:idx val="4"/>
              <c:tx>
                <c:rich>
                  <a:bodyPr/>
                  <a:lstStyle/>
                  <a:p>
                    <a:fld id="{131F21C4-FFAA-4E6A-933D-54D728C2607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51B8DB16-A0A2-47D5-B4C0-AC70E855ED7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B5BB1BED-25D5-4F8A-9354-4F746FC0510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79</c:v>
                </c:pt>
                <c:pt idx="1">
                  <c:v>91</c:v>
                </c:pt>
                <c:pt idx="2">
                  <c:v>79</c:v>
                </c:pt>
                <c:pt idx="3">
                  <c:v>66</c:v>
                </c:pt>
                <c:pt idx="4">
                  <c:v>92</c:v>
                </c:pt>
                <c:pt idx="5">
                  <c:v>29</c:v>
                </c:pt>
                <c:pt idx="6">
                  <c:v>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79%</c:v>
                  </c:pt>
                  <c:pt idx="1">
                    <c:v>91%</c:v>
                  </c:pt>
                  <c:pt idx="2">
                    <c:v>79%</c:v>
                  </c:pt>
                  <c:pt idx="3">
                    <c:v>66%q</c:v>
                  </c:pt>
                  <c:pt idx="4">
                    <c:v>92%</c:v>
                  </c:pt>
                  <c:pt idx="5">
                    <c:v>29%</c:v>
                  </c:pt>
                  <c:pt idx="6">
                    <c:v>*</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49BA0968-8E4B-40DA-95A0-51F7D42100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DAD98CEC-B09C-4506-A430-18FB6BA73FC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fld id="{7CE3834B-BC4A-45D4-84FC-88A6DEBF43A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fld id="{B255D354-3D7E-4CC3-90AD-654C560109B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A71E2C37-A584-4B69-AE32-4C0920DA5FC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6341841C-2831-4AEE-A78A-DC72DD39852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r>
                      <a:rPr lang="en-GB"/>
                      <a:t>4%</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0</c:v>
                </c:pt>
                <c:pt idx="1">
                  <c:v>87</c:v>
                </c:pt>
                <c:pt idx="2">
                  <c:v>68</c:v>
                </c:pt>
                <c:pt idx="3">
                  <c:v>69</c:v>
                </c:pt>
                <c:pt idx="4">
                  <c:v>89</c:v>
                </c:pt>
                <c:pt idx="5">
                  <c:v>39</c:v>
                </c:pt>
                <c:pt idx="6">
                  <c:v>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0%</c:v>
                  </c:pt>
                  <c:pt idx="1">
                    <c:v>87%</c:v>
                  </c:pt>
                  <c:pt idx="2">
                    <c:v>68%</c:v>
                  </c:pt>
                  <c:pt idx="3">
                    <c:v>69%</c:v>
                  </c:pt>
                  <c:pt idx="4">
                    <c:v>89%</c:v>
                  </c:pt>
                  <c:pt idx="5">
                    <c:v>39%</c:v>
                  </c:pt>
                  <c:pt idx="6">
                    <c:v>4%p</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9</c:v>
                </c:pt>
                <c:pt idx="1">
                  <c:v>33</c:v>
                </c:pt>
                <c:pt idx="2">
                  <c:v>14</c:v>
                </c:pt>
                <c:pt idx="3">
                  <c:v>4</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39</c:v>
                </c:pt>
                <c:pt idx="1">
                  <c:v>37</c:v>
                </c:pt>
                <c:pt idx="2">
                  <c:v>14</c:v>
                </c:pt>
                <c:pt idx="3">
                  <c:v>7</c:v>
                </c:pt>
                <c:pt idx="4">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45A33CC4-6B12-4CAF-8A9E-4E9C6678B6A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9EF46571-8CB4-4B74-9486-C96EF70C86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EDD43736-0691-446E-B4B7-070F47AC64E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9</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4</c15:f>
                <c15:dlblRangeCache>
                  <c:ptCount val="3"/>
                  <c:pt idx="0">
                    <c:v>99%</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B744B69F-EA95-4ED8-8279-7574F8886BE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CBFB2C05-21C1-44A6-9DCC-D9605B6C1DF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B4A7D465-67AB-4AF2-84E5-CB9EDB386F3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7</c:v>
                </c:pt>
                <c:pt idx="1">
                  <c:v>0</c:v>
                </c:pt>
                <c:pt idx="2">
                  <c:v>0.02</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4</c15:f>
                <c15:dlblRangeCache>
                  <c:ptCount val="3"/>
                  <c:pt idx="0">
                    <c:v>97%</c:v>
                  </c:pt>
                  <c:pt idx="1">
                    <c:v>-</c:v>
                  </c:pt>
                  <c:pt idx="2">
                    <c:v>2%</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7</c:v>
                </c:pt>
                <c:pt idx="1">
                  <c:v>24</c:v>
                </c:pt>
                <c:pt idx="2">
                  <c:v>6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8</c:v>
                </c:pt>
                <c:pt idx="1">
                  <c:v>49</c:v>
                </c:pt>
                <c:pt idx="2">
                  <c:v>4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6</c:v>
                </c:pt>
                <c:pt idx="1">
                  <c:v>19</c:v>
                </c:pt>
                <c:pt idx="2">
                  <c:v>28</c:v>
                </c:pt>
                <c:pt idx="3">
                  <c:v>17</c:v>
                </c:pt>
                <c:pt idx="4">
                  <c:v>2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5</c:v>
                </c:pt>
                <c:pt idx="1">
                  <c:v>27</c:v>
                </c:pt>
                <c:pt idx="2">
                  <c:v>25</c:v>
                </c:pt>
                <c:pt idx="3">
                  <c:v>15</c:v>
                </c:pt>
                <c:pt idx="4">
                  <c:v>1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104</c:v>
                </c:pt>
                <c:pt idx="1">
                  <c:v>0.14000000000000001</c:v>
                </c:pt>
                <c:pt idx="2">
                  <c:v>0.23300000000000001</c:v>
                </c:pt>
                <c:pt idx="3">
                  <c:v>0.24399999999999999</c:v>
                </c:pt>
                <c:pt idx="4">
                  <c:v>0.2790000000000000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152</c:v>
                </c:pt>
                <c:pt idx="1">
                  <c:v>0.22700000000000001</c:v>
                </c:pt>
                <c:pt idx="2">
                  <c:v>0.18099999999999999</c:v>
                </c:pt>
                <c:pt idx="3">
                  <c:v>0.218</c:v>
                </c:pt>
                <c:pt idx="4">
                  <c:v>0.22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15</c:v>
                </c:pt>
                <c:pt idx="2">
                  <c:v>26</c:v>
                </c:pt>
                <c:pt idx="3">
                  <c:v>18</c:v>
                </c:pt>
                <c:pt idx="4">
                  <c:v>2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18</c:v>
                </c:pt>
                <c:pt idx="2">
                  <c:v>20</c:v>
                </c:pt>
                <c:pt idx="3">
                  <c:v>19</c:v>
                </c:pt>
                <c:pt idx="4">
                  <c:v>3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7</c:v>
                </c:pt>
                <c:pt idx="1">
                  <c:v>28</c:v>
                </c:pt>
                <c:pt idx="2">
                  <c:v>22</c:v>
                </c:pt>
                <c:pt idx="3">
                  <c:v>14</c:v>
                </c:pt>
                <c:pt idx="4">
                  <c:v>1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3</c:v>
                </c:pt>
                <c:pt idx="1">
                  <c:v>35</c:v>
                </c:pt>
                <c:pt idx="2">
                  <c:v>24</c:v>
                </c:pt>
                <c:pt idx="3">
                  <c:v>11</c:v>
                </c:pt>
                <c:pt idx="4">
                  <c:v>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0EDB0E5A-EB07-4736-A48B-A6361D8A341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99C4CEA6-8ECB-49B8-AD8B-737253E4C67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605FECBE-4DD1-4C4E-BCA6-605644BE1C7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6400AD7A-40D5-4200-A919-A6813D754C8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5E600EA4-F871-440E-B18B-6A33FD111F0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2</c:v>
                </c:pt>
                <c:pt idx="1">
                  <c:v>0</c:v>
                </c:pt>
                <c:pt idx="2">
                  <c:v>0.12</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82%</c:v>
                  </c:pt>
                  <c:pt idx="1">
                    <c:v>-</c:v>
                  </c:pt>
                  <c:pt idx="2">
                    <c:v>12%</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2D22353-E331-4689-B6DD-7FA3EF4A881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7C00D484-BF5B-420C-BD1F-46E3073D210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9F3214A4-5D84-4F88-969F-2BB7FF07270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FA1C6F6C-20C5-4D74-8E05-5078960DB73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930E84F7-B5CC-4147-B029-8BBC0A447F2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59</c:v>
                </c:pt>
                <c:pt idx="1">
                  <c:v>0</c:v>
                </c:pt>
                <c:pt idx="2">
                  <c:v>0.34</c:v>
                </c:pt>
                <c:pt idx="3">
                  <c:v>0.04</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9%</c:v>
                  </c:pt>
                  <c:pt idx="1">
                    <c:v>-</c:v>
                  </c:pt>
                  <c:pt idx="2">
                    <c:v>34%</c:v>
                  </c:pt>
                  <c:pt idx="3">
                    <c:v>4%</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12</c:v>
                </c:pt>
                <c:pt idx="2">
                  <c:v>30</c:v>
                </c:pt>
                <c:pt idx="3">
                  <c:v>18</c:v>
                </c:pt>
                <c:pt idx="4">
                  <c:v>3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13</c:v>
                </c:pt>
                <c:pt idx="2">
                  <c:v>22</c:v>
                </c:pt>
                <c:pt idx="3">
                  <c:v>20</c:v>
                </c:pt>
                <c:pt idx="4">
                  <c:v>3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14</c:v>
                </c:pt>
                <c:pt idx="1">
                  <c:v>25</c:v>
                </c:pt>
                <c:pt idx="2">
                  <c:v>40</c:v>
                </c:pt>
                <c:pt idx="3">
                  <c:v>2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0</c:v>
                </c:pt>
                <c:pt idx="1">
                  <c:v>34</c:v>
                </c:pt>
                <c:pt idx="2">
                  <c:v>35</c:v>
                </c:pt>
                <c:pt idx="3">
                  <c:v>1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5</c:v>
                </c:pt>
                <c:pt idx="1">
                  <c:v>39</c:v>
                </c:pt>
                <c:pt idx="2">
                  <c:v>13</c:v>
                </c:pt>
                <c:pt idx="3">
                  <c:v>3</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4</c:v>
                </c:pt>
                <c:pt idx="1">
                  <c:v>25</c:v>
                </c:pt>
                <c:pt idx="2">
                  <c:v>6</c:v>
                </c:pt>
                <c:pt idx="3">
                  <c:v>3</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29</c:v>
                </c:pt>
                <c:pt idx="1">
                  <c:v>55</c:v>
                </c:pt>
                <c:pt idx="2">
                  <c:v>14</c:v>
                </c:pt>
                <c:pt idx="3">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0</c:v>
                </c:pt>
                <c:pt idx="1">
                  <c:v>53</c:v>
                </c:pt>
                <c:pt idx="2">
                  <c:v>14</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5</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863-4EF3-8628-514246B9651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863-4EF3-8628-514246B9651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C82A9A6E-88A6-4E6D-B5F8-40C8F42A299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4786AD2C-1C8F-404F-ABD3-4B75A809497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0</c:v>
                </c:pt>
                <c:pt idx="1">
                  <c:v>2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0%</c:v>
                  </c:pt>
                  <c:pt idx="1">
                    <c:v>20%</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5E-4713-BCB6-17010B44716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E5E-4713-BCB6-17010B44716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0B4BB5C4-4E5F-4D55-859F-B3159302970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0AA717D3-08C0-4898-8A43-8F5F7205F84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FB6-49AC-A845-714BC7862DE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FB6-49AC-A845-714BC7862DE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1BF73EE7-6857-49B5-AB38-D123C6F1966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80E0F0B1-6D04-4B65-A2BF-6D60DEECBCA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0</c:v>
                </c:pt>
                <c:pt idx="1">
                  <c:v>4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0%</c:v>
                  </c:pt>
                  <c:pt idx="1">
                    <c:v>40%</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1B2-481E-8927-CB542BF48EB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B2-481E-8927-CB542BF48EB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97A66CB3-1E48-4936-8DCC-49BCF3C80F4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BCB2F79B-2C2C-4997-A935-EEBBB981BF5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5</c:v>
                </c:pt>
                <c:pt idx="1">
                  <c:v>2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5%</c:v>
                  </c:pt>
                  <c:pt idx="1">
                    <c:v>25%</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D0-417A-9AE1-625975EDEF4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D0-417A-9AE1-625975EDEF4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6B615427-EA00-4134-A31B-2780C7EB2B8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B73715C6-E60A-4022-A747-ED7B8EC069E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9</c:v>
                </c:pt>
                <c:pt idx="1">
                  <c:v>6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9%</c:v>
                  </c:pt>
                  <c:pt idx="1">
                    <c:v>61%</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31F-4356-B084-576816CB2DE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31F-4356-B084-576816CB2DE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435D5AB2-77A7-436D-BA3F-20F59148A90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D70D75DE-1F69-44A0-B547-F8FB3BAE3F9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5</c:v>
                </c:pt>
                <c:pt idx="1">
                  <c:v>5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5%</c:v>
                  </c:pt>
                  <c:pt idx="1">
                    <c:v>55%</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E81-4665-B9F1-19FE31D5928C}"/>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E81-4665-B9F1-19FE31D5928C}"/>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8B00B68B-2614-4D57-B3AF-0FA3D657535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E7DDF3B5-26F8-4105-B4C9-F267A2F212E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5</c:v>
                </c:pt>
                <c:pt idx="1">
                  <c:v>5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5%</c:v>
                  </c:pt>
                  <c:pt idx="1">
                    <c:v>55%</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DD-430C-8FF3-E4B09270E25F}"/>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DD-430C-8FF3-E4B09270E25F}"/>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3E10BB55-CE75-45F9-9980-2E0D3583627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05548540-486B-422B-8861-92339DE6222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1</c:v>
                </c:pt>
                <c:pt idx="1">
                  <c:v>6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1%</c:v>
                  </c:pt>
                  <c:pt idx="1">
                    <c:v>69%</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F3E-4C45-9DAC-B2929C4B2C2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F3E-4C45-9DAC-B2929C4B2C2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9B764277-AADA-441B-BB9D-CED99BCEC8A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3C1ED562-9B8C-418D-B561-FC1ADE9A534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4</c:v>
                </c:pt>
                <c:pt idx="1">
                  <c:v>1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4%</c:v>
                  </c:pt>
                  <c:pt idx="1">
                    <c:v>16%</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F81-41A0-AA5F-E21FFFB8EB7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F81-41A0-AA5F-E21FFFB8EB7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05D3047C-E735-4299-9AA7-E324FD87FE3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70%</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5F81-41A0-AA5F-E21FFFB8EB7E}"/>
                </c:ext>
              </c:extLst>
            </c:dLbl>
            <c:dLbl>
              <c:idx val="1"/>
              <c:tx>
                <c:rich>
                  <a:bodyPr/>
                  <a:lstStyle/>
                  <a:p>
                    <a:r>
                      <a:rPr lang="en-GB"/>
                      <a:t>30%</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0</c:v>
                </c:pt>
                <c:pt idx="1">
                  <c:v>3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0%q</c:v>
                  </c:pt>
                  <c:pt idx="1">
                    <c:v>30%p</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532-49D4-9643-2B7F1FC6412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532-49D4-9643-2B7F1FC6412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D930A58E-5A75-4983-9F7F-C8A93F78933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70%</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F532-49D4-9643-2B7F1FC6412B}"/>
                </c:ext>
              </c:extLst>
            </c:dLbl>
            <c:dLbl>
              <c:idx val="1"/>
              <c:tx>
                <c:rich>
                  <a:bodyPr/>
                  <a:lstStyle/>
                  <a:p>
                    <a:r>
                      <a:rPr lang="en-GB"/>
                      <a:t>30%</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0</c:v>
                </c:pt>
                <c:pt idx="1">
                  <c:v>3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0%p</c:v>
                  </c:pt>
                  <c:pt idx="1">
                    <c:v>30%q</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6-4EA4-9136-CE48FDDBE16D}"/>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C56-4EA4-9136-CE48FDDBE16D}"/>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654ABE79-38A6-4D05-9B4E-38FA2F386AA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5A6ACCF1-639A-4D71-A12E-0AE6E093B84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6</c:v>
                </c:pt>
                <c:pt idx="1">
                  <c:v>5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6%</c:v>
                  </c:pt>
                  <c:pt idx="1">
                    <c:v>54%</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011-40D3-80BA-F4CA421B82A7}"/>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011-40D3-80BA-F4CA421B82A7}"/>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A1701113-9109-4A1F-B350-0A26BC9891F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C093D197-7E0D-48C0-BEA8-D8C157568E3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A96-46F4-8DED-A8EE18A7949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A96-46F4-8DED-A8EE18A7949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104ABB5B-2DF7-468A-B36A-EB2F772BFD4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0222A5E2-F9C3-43AB-96E6-F6F00DE3779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1</c:v>
                </c:pt>
                <c:pt idx="1">
                  <c:v>2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1%</c:v>
                  </c:pt>
                  <c:pt idx="1">
                    <c:v>29%</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51</c:v>
                </c:pt>
                <c:pt idx="1">
                  <c:v>28</c:v>
                </c:pt>
                <c:pt idx="2">
                  <c:v>2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35</c:v>
                </c:pt>
                <c:pt idx="1">
                  <c:v>53</c:v>
                </c:pt>
                <c:pt idx="2">
                  <c:v>1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C8905B5F-1B24-4796-8B8D-EC99F3D357F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07032087-777C-4542-85A2-CE05B5DEFB2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A7F7DE29-6DB4-4AB7-8438-0FECEDA231A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r>
                      <a:rPr lang="en-GB"/>
                      <a:t>12%</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7519-4C1F-9643-9A55D10271AC}"/>
                </c:ext>
              </c:extLst>
            </c:dLbl>
            <c:dLbl>
              <c:idx val="5"/>
              <c:tx>
                <c:rich>
                  <a:bodyPr/>
                  <a:lstStyle/>
                  <a:p>
                    <a:fld id="{71F328F4-DFC2-4F4D-BC09-E838122265A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7E9B37B0-1BCC-4CCA-A5DD-1C1A9CC9045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1</c:v>
                </c:pt>
                <c:pt idx="1">
                  <c:v>8</c:v>
                </c:pt>
                <c:pt idx="2">
                  <c:v>61</c:v>
                </c:pt>
                <c:pt idx="3">
                  <c:v>30</c:v>
                </c:pt>
                <c:pt idx="4">
                  <c:v>12</c:v>
                </c:pt>
                <c:pt idx="5">
                  <c:v>17</c:v>
                </c:pt>
                <c:pt idx="6">
                  <c:v>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61%</c:v>
                  </c:pt>
                  <c:pt idx="1">
                    <c:v>8%</c:v>
                  </c:pt>
                  <c:pt idx="2">
                    <c:v>61%</c:v>
                  </c:pt>
                  <c:pt idx="3">
                    <c:v>30%</c:v>
                  </c:pt>
                  <c:pt idx="4">
                    <c:v>12%q</c:v>
                  </c:pt>
                  <c:pt idx="5">
                    <c:v>17%</c:v>
                  </c:pt>
                  <c:pt idx="6">
                    <c:v>9%</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B558E8DF-2195-41D5-AB61-1EF61BB71DD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5E868B8D-497F-47ED-A176-D9FB8E8D65C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D09D4801-C752-45FF-9682-68F14CAF14B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B41E6B32-C500-4B46-9DA6-23C5C5369FB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C59449B1-4AC9-4894-B10E-6E4E1DE5DD5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D57B6FE5-7878-4FAC-9787-F710D9A18D4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31</c:v>
                </c:pt>
                <c:pt idx="1">
                  <c:v>17</c:v>
                </c:pt>
                <c:pt idx="2">
                  <c:v>33</c:v>
                </c:pt>
                <c:pt idx="3">
                  <c:v>40</c:v>
                </c:pt>
                <c:pt idx="4">
                  <c:v>8</c:v>
                </c:pt>
                <c:pt idx="5">
                  <c:v>16</c:v>
                </c:pt>
                <c:pt idx="6">
                  <c:v>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31%</c:v>
                  </c:pt>
                  <c:pt idx="1">
                    <c:v>17%</c:v>
                  </c:pt>
                  <c:pt idx="2">
                    <c:v>33%</c:v>
                  </c:pt>
                  <c:pt idx="3">
                    <c:v>40%</c:v>
                  </c:pt>
                  <c:pt idx="4">
                    <c:v>8%</c:v>
                  </c:pt>
                  <c:pt idx="5">
                    <c:v>16%</c:v>
                  </c:pt>
                  <c:pt idx="6">
                    <c:v>9%</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1</c:v>
                </c:pt>
                <c:pt idx="1">
                  <c:v>37</c:v>
                </c:pt>
                <c:pt idx="2">
                  <c:v>11</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6</c:v>
                </c:pt>
                <c:pt idx="1">
                  <c:v>38</c:v>
                </c:pt>
                <c:pt idx="2">
                  <c:v>5</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1%</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78</c:v>
                </c:pt>
                <c:pt idx="1">
                  <c:v>0.78</c:v>
                </c:pt>
                <c:pt idx="2">
                  <c:v>0.82</c:v>
                </c:pt>
                <c:pt idx="3">
                  <c:v>0.77</c:v>
                </c:pt>
                <c:pt idx="4">
                  <c:v>0.8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57D9C66E-2ECC-4BE2-8AED-083C754B0C3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3CC7249B-DDB7-4E4E-AE43-34F3B5A44A9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C836BBDD-3C49-4B04-931B-CB01D59E06B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E7CDEBA4-6A5D-4D54-90CA-EB468BA5892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22</c:v>
                </c:pt>
                <c:pt idx="1">
                  <c:v>0.22</c:v>
                </c:pt>
                <c:pt idx="2">
                  <c:v>0.18</c:v>
                </c:pt>
                <c:pt idx="3">
                  <c:v>0.23</c:v>
                </c:pt>
                <c:pt idx="4">
                  <c:v>0.15</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78%</c:v>
                  </c:pt>
                  <c:pt idx="1">
                    <c:v>78%</c:v>
                  </c:pt>
                  <c:pt idx="2">
                    <c:v>82%</c:v>
                  </c:pt>
                  <c:pt idx="3">
                    <c:v>77%</c:v>
                  </c:pt>
                  <c:pt idx="4">
                    <c:v>85%</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LEICESTER, LEICESTERSHIRE AND RUTLAND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LEICESTER, LEICESTERSHIRE AND RUTLAND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LEICESTER, LEICESTERSHIRE AND RUTLAND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LEICESTER, LEICESTERSHIRE AND RUTLAND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LEICESTER, LEICESTERSHIRE AND RUTLAND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2900" b="0" dirty="0">
                <a:solidFill>
                  <a:prstClr val="white"/>
                </a:solidFill>
                <a:latin typeface="Arial Black" panose="020B0A04020102020204" pitchFamily="34" charset="0"/>
              </a:rPr>
              <a:t>LEICESTER, LEICESTERSHIRE AND RUTLAND INTEGRATED CARE SYSTEM</a:t>
            </a:r>
            <a:endParaRPr lang="en-GB" sz="29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4199443179"/>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providing support in taking part in physical activity</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917052038"/>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72005112"/>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urine test as part of their last annual review</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34759117"/>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LEICESTER, LEICESTERSHIRE AND RUTLAND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57427208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40766053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0% of respondents who were marked as Type 1 in the sample selected ‘Type 1’, 8% selected ‘Type 2’, *% selected ‘Other’ and 1% selected ‘I don’t know’ ​</a:t>
            </a:r>
          </a:p>
          <a:p>
            <a:pPr marL="171450" indent="-171450">
              <a:buFont typeface="Arial" panose="020B0604020202020204" pitchFamily="34" charset="0"/>
              <a:buChar char="•"/>
              <a:defRPr/>
            </a:pPr>
            <a:r>
              <a:rPr lang="en-GB" sz="1200" dirty="0">
                <a:solidFill>
                  <a:schemeClr val="tx1"/>
                </a:solidFill>
                <a:effectLst/>
              </a:rPr>
              <a:t>85% of respondents who were marked as Type 2 in the sample selected ‘Type 2’, 3% selected ‘Type 1’, 2% selected ‘Other’ and 9%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360); Type 2, ICS (513)).</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3134746126"/>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992897355"/>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1083920049"/>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2217037497"/>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181431737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04); Type 2, National (19,941), ICS (407))</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348657933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175727853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14); Type 2, National (22,278), ICS (464))</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161344036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179173095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280); Type 2, National (21,082), ICS (423))</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313472235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118891804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357); Type 2, National (24,180), ICS (512))</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374328105"/>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3790371627"/>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493869593"/>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480286207"/>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216433766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345); Type 2, National (22,482), ICS (470))</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52866658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370186906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219677861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189969067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9658623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305596764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156391523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319669817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87729624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351); Type 2, National (22,670), ICS (472))</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xmlns:asvg="http://schemas.microsoft.com/office/drawing/2016/SVG/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406372927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417253555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216406172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111383031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107755159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375020797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119984334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255546360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399163021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359); Type 2, National (24,076), ICS (507))</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346074102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84086567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373653038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400233421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5867104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163311915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52016371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55632370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359); Type 2, National (24,153), ICS (510))</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277201087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172964157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16734417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345447303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365401808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128439594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297139649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21321896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13854123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358); Type 2, National (24,135), ICS (513))</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414454670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37942612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80526916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166093360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198580160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167281933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382930650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76282219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89210040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55); Type 2, National (24,084), ICS (508))</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210717788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184722223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399724148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31054423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270291557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63495371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93943378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413843111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48625989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58); Type 2, National (24,070), ICS (509))</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211731009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717925048"/>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193133844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124045335"/>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2719305334"/>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304452226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1802237128"/>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340701895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249463229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59); Type 2, National (24,260), ICS (512))</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203012453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101327811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115447425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182341519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35751288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343283035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247579827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24093543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19430715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359); Type 2, National (24,267), ICS (512))</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71779946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161415405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52422244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234681663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36590787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162163962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327449538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138265627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387436339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60); Type 2, National (24,196), ICS (507))</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334383430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220795441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111974780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359); Type 2, National (24,019), ICS (504))</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300483172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281835808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177); Type 2, National (11,860), ICS (247))</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311837985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312346289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48); Type 2, National (21,228), ICS (445))</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252409517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277698253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45); Type 2, National (20,915), ICS (449))</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48074864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263419138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26); Type 2, National (20,086), ICS (426))</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246281112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418523105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35); Type 2, National (21,890), ICS (460))</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297825509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318574098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15); Type 2, National (18,585), ICS (399))</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427278216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211160308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336587820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15255303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82661842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340820372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330720878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106187844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341); Type 2, National (22,580), ICS (473))</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207176158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3153499074"/>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1443330820"/>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1600921231"/>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3101645400"/>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55039655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248); Type 2, National (12,350), ICS (277))</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190566957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44919930"/>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17097568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104496068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351769907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381990195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132000976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261156613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341); Type 2, National (10,911), ICS (246))</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128903945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3185519287"/>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2157118187"/>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2402469855"/>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3991915536"/>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317982758"/>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718552732"/>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346))</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58457891"/>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2354073600"/>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1817282504"/>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733195553"/>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60576015"/>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173795512"/>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469))</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LEICESTER, LEICESTERSHIRE AND RUTLAND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380</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877</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37%</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360</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17</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901</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479</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3943856278"/>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2004726482"/>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680054152"/>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3054676170"/>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1810135017"/>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2205154210"/>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1129931765"/>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LEICESTER, LEICESTERSHIRE AND RUTLAND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476097585"/>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Participating in a course about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312261361"/>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648057858"/>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providing support with eating well</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475886008"/>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2.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3.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7</TotalTime>
  <Words>5249</Words>
  <Application>Microsoft Office PowerPoint</Application>
  <PresentationFormat>Widescreen</PresentationFormat>
  <Paragraphs>805</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HelveticaNeueLT Std Lt Cn</vt:lpstr>
      <vt:lpstr>Barlow</vt:lpstr>
      <vt:lpstr>Wingdings</vt:lpstr>
      <vt:lpstr>Arial Black</vt:lpstr>
      <vt:lpstr>Roboto</vt:lpstr>
      <vt:lpstr>Arial (Body)</vt:lpstr>
      <vt:lpstr>Arial</vt:lpstr>
      <vt:lpstr>Wingdings 3</vt:lpstr>
      <vt:lpstr>Segoe UI</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Jane Stevens</cp:lastModifiedBy>
  <cp:revision>174</cp:revision>
  <cp:lastPrinted>2024-09-17T13:37:47Z</cp:lastPrinted>
  <dcterms:created xsi:type="dcterms:W3CDTF">2024-06-17T14:42:21Z</dcterms:created>
  <dcterms:modified xsi:type="dcterms:W3CDTF">2024-12-04T10:23: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